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  <p:sldMasterId id="2147483774" r:id="rId4"/>
    <p:sldMasterId id="2147483782" r:id="rId5"/>
  </p:sldMasterIdLst>
  <p:notesMasterIdLst>
    <p:notesMasterId r:id="rId23"/>
  </p:notesMasterIdLst>
  <p:handoutMasterIdLst>
    <p:handoutMasterId r:id="rId24"/>
  </p:handoutMasterIdLst>
  <p:sldIdLst>
    <p:sldId id="1277" r:id="rId6"/>
    <p:sldId id="1293" r:id="rId7"/>
    <p:sldId id="1294" r:id="rId8"/>
    <p:sldId id="1296" r:id="rId9"/>
    <p:sldId id="1381" r:id="rId10"/>
    <p:sldId id="1373" r:id="rId11"/>
    <p:sldId id="1376" r:id="rId12"/>
    <p:sldId id="1374" r:id="rId13"/>
    <p:sldId id="1375" r:id="rId14"/>
    <p:sldId id="1378" r:id="rId15"/>
    <p:sldId id="1377" r:id="rId16"/>
    <p:sldId id="1380" r:id="rId17"/>
    <p:sldId id="1379" r:id="rId18"/>
    <p:sldId id="1343" r:id="rId19"/>
    <p:sldId id="1344" r:id="rId20"/>
    <p:sldId id="1345" r:id="rId21"/>
    <p:sldId id="1346" r:id="rId2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1"/>
            <p14:sldId id="1373"/>
            <p14:sldId id="1376"/>
            <p14:sldId id="1374"/>
            <p14:sldId id="1375"/>
            <p14:sldId id="1378"/>
            <p14:sldId id="1377"/>
            <p14:sldId id="1380"/>
            <p14:sldId id="1379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Jihočeský kraj</c:v>
                </c:pt>
                <c:pt idx="4">
                  <c:v>Jihomoravský kraj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Zlínský kraj</c:v>
                </c:pt>
                <c:pt idx="8">
                  <c:v>ČR</c:v>
                </c:pt>
                <c:pt idx="9">
                  <c:v>Moravskoslezský kraj</c:v>
                </c:pt>
                <c:pt idx="10">
                  <c:v>Olomouc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31282346175</c:v>
                </c:pt>
                <c:pt idx="1">
                  <c:v>0.38471760797299998</c:v>
                </c:pt>
                <c:pt idx="2">
                  <c:v>0.36138613861300001</c:v>
                </c:pt>
                <c:pt idx="3">
                  <c:v>0.34577723378199998</c:v>
                </c:pt>
                <c:pt idx="4">
                  <c:v>0.336665333866</c:v>
                </c:pt>
                <c:pt idx="5">
                  <c:v>0.32395950506100002</c:v>
                </c:pt>
                <c:pt idx="6">
                  <c:v>0.29397293972900002</c:v>
                </c:pt>
                <c:pt idx="7">
                  <c:v>0.28492239467800001</c:v>
                </c:pt>
                <c:pt idx="8">
                  <c:v>0.28024832687500001</c:v>
                </c:pt>
                <c:pt idx="9">
                  <c:v>0.251062322946</c:v>
                </c:pt>
                <c:pt idx="10">
                  <c:v>0.23157162726</c:v>
                </c:pt>
                <c:pt idx="11">
                  <c:v>0.22966507177000001</c:v>
                </c:pt>
                <c:pt idx="12">
                  <c:v>0.20201484623499999</c:v>
                </c:pt>
                <c:pt idx="13">
                  <c:v>0.16470588235200001</c:v>
                </c:pt>
                <c:pt idx="14">
                  <c:v>0.159771754635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Středočeský kraj</c:v>
                </c:pt>
                <c:pt idx="3">
                  <c:v>Jihočeský kraj</c:v>
                </c:pt>
                <c:pt idx="4">
                  <c:v>Královéhradecký kraj</c:v>
                </c:pt>
                <c:pt idx="5">
                  <c:v>Pardubic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Plzeňský kraj</c:v>
                </c:pt>
                <c:pt idx="9">
                  <c:v>Zlínský kraj</c:v>
                </c:pt>
                <c:pt idx="10">
                  <c:v>Olomoucký kraj</c:v>
                </c:pt>
                <c:pt idx="11">
                  <c:v>Moravskoslezský kraj</c:v>
                </c:pt>
                <c:pt idx="12">
                  <c:v>Liberecký kraj</c:v>
                </c:pt>
                <c:pt idx="13">
                  <c:v>Hlavní město Prah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484848484800003</c:v>
                </c:pt>
                <c:pt idx="1">
                  <c:v>0.43023255813900002</c:v>
                </c:pt>
                <c:pt idx="2">
                  <c:v>0.372807017543</c:v>
                </c:pt>
                <c:pt idx="3">
                  <c:v>0.37062937062899998</c:v>
                </c:pt>
                <c:pt idx="4">
                  <c:v>0.36956521739100001</c:v>
                </c:pt>
                <c:pt idx="5">
                  <c:v>0.35877862595400001</c:v>
                </c:pt>
                <c:pt idx="6">
                  <c:v>0.29667308220999999</c:v>
                </c:pt>
                <c:pt idx="7">
                  <c:v>0.295880149812</c:v>
                </c:pt>
                <c:pt idx="8">
                  <c:v>0.29249011857700002</c:v>
                </c:pt>
                <c:pt idx="9">
                  <c:v>0.289617486338</c:v>
                </c:pt>
                <c:pt idx="10">
                  <c:v>0.26701570680600001</c:v>
                </c:pt>
                <c:pt idx="11">
                  <c:v>0.26326129665999998</c:v>
                </c:pt>
                <c:pt idx="12">
                  <c:v>0.20792079207899999</c:v>
                </c:pt>
                <c:pt idx="13">
                  <c:v>0.19289340101499999</c:v>
                </c:pt>
                <c:pt idx="14">
                  <c:v>0.142857142856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Jihomoravs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Ústecký kraj</c:v>
                </c:pt>
                <c:pt idx="5">
                  <c:v>Královéhradecký kraj</c:v>
                </c:pt>
                <c:pt idx="6">
                  <c:v>Olomoucký kraj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ČR</c:v>
                </c:pt>
                <c:pt idx="10">
                  <c:v>Pardubický kraj</c:v>
                </c:pt>
                <c:pt idx="11">
                  <c:v>Liberecký kraj</c:v>
                </c:pt>
                <c:pt idx="12">
                  <c:v>Plzeňský kraj</c:v>
                </c:pt>
                <c:pt idx="13">
                  <c:v>Hlavní město Prah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75</c:v>
                </c:pt>
                <c:pt idx="1">
                  <c:v>0.344680851063</c:v>
                </c:pt>
                <c:pt idx="2">
                  <c:v>0.33870967741899999</c:v>
                </c:pt>
                <c:pt idx="3">
                  <c:v>0.25</c:v>
                </c:pt>
                <c:pt idx="4">
                  <c:v>0.247933884297</c:v>
                </c:pt>
                <c:pt idx="5">
                  <c:v>0.23684210526300001</c:v>
                </c:pt>
                <c:pt idx="6">
                  <c:v>0.22302158273299999</c:v>
                </c:pt>
                <c:pt idx="7">
                  <c:v>0.21739130434699999</c:v>
                </c:pt>
                <c:pt idx="8">
                  <c:v>0.210355987055</c:v>
                </c:pt>
                <c:pt idx="9">
                  <c:v>0.19883040935599999</c:v>
                </c:pt>
                <c:pt idx="10">
                  <c:v>0.177419354838</c:v>
                </c:pt>
                <c:pt idx="11">
                  <c:v>0.16049382715999999</c:v>
                </c:pt>
                <c:pt idx="12">
                  <c:v>0.13422818791900001</c:v>
                </c:pt>
                <c:pt idx="13">
                  <c:v>7.5630252100000003E-2</c:v>
                </c:pt>
                <c:pt idx="14">
                  <c:v>6.8181818180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3</c:v>
                </c:pt>
                <c:pt idx="17">
                  <c:v>664</c:v>
                </c:pt>
                <c:pt idx="18">
                  <c:v>733</c:v>
                </c:pt>
                <c:pt idx="19">
                  <c:v>795</c:v>
                </c:pt>
                <c:pt idx="20">
                  <c:v>851</c:v>
                </c:pt>
                <c:pt idx="21">
                  <c:v>923</c:v>
                </c:pt>
                <c:pt idx="22">
                  <c:v>930</c:v>
                </c:pt>
                <c:pt idx="23">
                  <c:v>993</c:v>
                </c:pt>
                <c:pt idx="24">
                  <c:v>1175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1</c:v>
                </c:pt>
                <c:pt idx="31">
                  <c:v>2105</c:v>
                </c:pt>
                <c:pt idx="32">
                  <c:v>2295</c:v>
                </c:pt>
                <c:pt idx="33">
                  <c:v>2495</c:v>
                </c:pt>
                <c:pt idx="34">
                  <c:v>2660</c:v>
                </c:pt>
                <c:pt idx="35">
                  <c:v>2803</c:v>
                </c:pt>
                <c:pt idx="36">
                  <c:v>2802</c:v>
                </c:pt>
                <c:pt idx="37">
                  <c:v>2952</c:v>
                </c:pt>
                <c:pt idx="38">
                  <c:v>3413</c:v>
                </c:pt>
                <c:pt idx="39">
                  <c:v>3610</c:v>
                </c:pt>
                <c:pt idx="40">
                  <c:v>3755</c:v>
                </c:pt>
                <c:pt idx="41">
                  <c:v>3885</c:v>
                </c:pt>
                <c:pt idx="42">
                  <c:v>4049</c:v>
                </c:pt>
                <c:pt idx="43">
                  <c:v>3988</c:v>
                </c:pt>
                <c:pt idx="44">
                  <c:v>4131</c:v>
                </c:pt>
                <c:pt idx="45">
                  <c:v>4789</c:v>
                </c:pt>
                <c:pt idx="46">
                  <c:v>4864</c:v>
                </c:pt>
                <c:pt idx="47">
                  <c:v>4822</c:v>
                </c:pt>
                <c:pt idx="48">
                  <c:v>5188</c:v>
                </c:pt>
                <c:pt idx="49">
                  <c:v>5316</c:v>
                </c:pt>
                <c:pt idx="50">
                  <c:v>5204</c:v>
                </c:pt>
                <c:pt idx="51">
                  <c:v>5419</c:v>
                </c:pt>
                <c:pt idx="52">
                  <c:v>6016</c:v>
                </c:pt>
                <c:pt idx="53">
                  <c:v>6127</c:v>
                </c:pt>
                <c:pt idx="54">
                  <c:v>6218</c:v>
                </c:pt>
                <c:pt idx="55">
                  <c:v>6330</c:v>
                </c:pt>
                <c:pt idx="56">
                  <c:v>6431</c:v>
                </c:pt>
                <c:pt idx="57">
                  <c:v>6214</c:v>
                </c:pt>
                <c:pt idx="58">
                  <c:v>6416</c:v>
                </c:pt>
                <c:pt idx="59">
                  <c:v>7087</c:v>
                </c:pt>
                <c:pt idx="60">
                  <c:v>7023</c:v>
                </c:pt>
                <c:pt idx="61">
                  <c:v>6972</c:v>
                </c:pt>
                <c:pt idx="62">
                  <c:v>7065</c:v>
                </c:pt>
                <c:pt idx="63">
                  <c:v>7035</c:v>
                </c:pt>
                <c:pt idx="64">
                  <c:v>6564</c:v>
                </c:pt>
                <c:pt idx="65">
                  <c:v>6672</c:v>
                </c:pt>
                <c:pt idx="66">
                  <c:v>7129</c:v>
                </c:pt>
                <c:pt idx="67">
                  <c:v>6910</c:v>
                </c:pt>
                <c:pt idx="68">
                  <c:v>6752</c:v>
                </c:pt>
                <c:pt idx="69">
                  <c:v>6576</c:v>
                </c:pt>
                <c:pt idx="70">
                  <c:v>6378</c:v>
                </c:pt>
                <c:pt idx="71">
                  <c:v>5854</c:v>
                </c:pt>
                <c:pt idx="72">
                  <c:v>5883</c:v>
                </c:pt>
                <c:pt idx="73">
                  <c:v>6368</c:v>
                </c:pt>
                <c:pt idx="74">
                  <c:v>6068</c:v>
                </c:pt>
                <c:pt idx="75">
                  <c:v>5798</c:v>
                </c:pt>
                <c:pt idx="76">
                  <c:v>5539</c:v>
                </c:pt>
                <c:pt idx="77">
                  <c:v>5313</c:v>
                </c:pt>
                <c:pt idx="78">
                  <c:v>48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81</c:v>
                </c:pt>
                <c:pt idx="52">
                  <c:v>817</c:v>
                </c:pt>
                <c:pt idx="53">
                  <c:v>859</c:v>
                </c:pt>
                <c:pt idx="54">
                  <c:v>866</c:v>
                </c:pt>
                <c:pt idx="55">
                  <c:v>892</c:v>
                </c:pt>
                <c:pt idx="56">
                  <c:v>912</c:v>
                </c:pt>
                <c:pt idx="57">
                  <c:v>929</c:v>
                </c:pt>
                <c:pt idx="58">
                  <c:v>941</c:v>
                </c:pt>
                <c:pt idx="59">
                  <c:v>985</c:v>
                </c:pt>
                <c:pt idx="60">
                  <c:v>990</c:v>
                </c:pt>
                <c:pt idx="61">
                  <c:v>982</c:v>
                </c:pt>
                <c:pt idx="62">
                  <c:v>974</c:v>
                </c:pt>
                <c:pt idx="63">
                  <c:v>969</c:v>
                </c:pt>
                <c:pt idx="64">
                  <c:v>942</c:v>
                </c:pt>
                <c:pt idx="65">
                  <c:v>970</c:v>
                </c:pt>
                <c:pt idx="66">
                  <c:v>992</c:v>
                </c:pt>
                <c:pt idx="67">
                  <c:v>999</c:v>
                </c:pt>
                <c:pt idx="68">
                  <c:v>1000</c:v>
                </c:pt>
                <c:pt idx="69">
                  <c:v>1013</c:v>
                </c:pt>
                <c:pt idx="70">
                  <c:v>983</c:v>
                </c:pt>
                <c:pt idx="71">
                  <c:v>964</c:v>
                </c:pt>
                <c:pt idx="72">
                  <c:v>981</c:v>
                </c:pt>
                <c:pt idx="73">
                  <c:v>999</c:v>
                </c:pt>
                <c:pt idx="74">
                  <c:v>971</c:v>
                </c:pt>
                <c:pt idx="75">
                  <c:v>932</c:v>
                </c:pt>
                <c:pt idx="76">
                  <c:v>880</c:v>
                </c:pt>
                <c:pt idx="77">
                  <c:v>874</c:v>
                </c:pt>
                <c:pt idx="78">
                  <c:v>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31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31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363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74695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6152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30140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5286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6826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6204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751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44036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7776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4446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526199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412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4233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27470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7900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4248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045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325898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242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513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41331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32646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7977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200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64054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6622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15636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8644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31</a:t>
            </a:r>
            <a:r>
              <a:rPr lang="cs-CZ" b="1" dirty="0" smtClean="0"/>
              <a:t>. </a:t>
            </a:r>
            <a:r>
              <a:rPr lang="cs-CZ" b="1" dirty="0" smtClean="0"/>
              <a:t>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7A7640AA-13B5-451C-AEF6-2B181EB7D03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832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2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8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4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 3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2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3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 36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03538" y="584009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81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9959111-8EBE-46FA-A0A1-1F84F67EEDA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8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7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803538" y="584009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5819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708448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.12.202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2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2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56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9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k </a:t>
            </a:r>
            <a:r>
              <a:rPr lang="cs-CZ" b="1" dirty="0" smtClean="0">
                <a:solidFill>
                  <a:srgbClr val="000000"/>
                </a:solidFill>
                <a:latin typeface="Arial" panose="020B0604020202020204"/>
              </a:rPr>
              <a:t>19.1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2021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a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srovnání s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ulým rokem datů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</a:t>
            </a:r>
            <a:r>
              <a:rPr lang="cs-CZ" b="1" dirty="0">
                <a:solidFill>
                  <a:srgbClr val="000000"/>
                </a:solidFill>
                <a:latin typeface="Arial" panose="020B0604020202020204"/>
              </a:rPr>
              <a:t>28.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2020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5198689"/>
              </p:ext>
            </p:extLst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9">
            <a:extLst>
              <a:ext uri="{FF2B5EF4-FFF2-40B4-BE49-F238E27FC236}">
                <a16:creationId xmlns:a16="http://schemas.microsoft.com/office/drawing/2014/main" id="{BA0A6603-F197-4D06-B945-0D4FBF0860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9469" y="914400"/>
            <a:ext cx="8414239" cy="548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9549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isk </a:t>
            </a:r>
            <a:r>
              <a:rPr lang="cs-CZ" dirty="0" err="1"/>
              <a:t>mapping</a:t>
            </a:r>
            <a:r>
              <a:rPr lang="cs-CZ" dirty="0"/>
              <a:t> – zdroj </a:t>
            </a:r>
            <a:r>
              <a:rPr lang="cs-CZ" dirty="0" smtClean="0"/>
              <a:t>UZIS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219914" y="951378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nově hospitalizovaných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COVID-19 v následujících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 dnech z aktuálního prevalenčního poolu.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313127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6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7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4776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642012"/>
              </p:ext>
            </p:extLst>
          </p:nvPr>
        </p:nvGraphicFramePr>
        <p:xfrm>
          <a:off x="332646" y="832094"/>
          <a:ext cx="11405086" cy="696642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a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kapacitní problémy na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792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 - zásadně zhoršená, zvládnutelná lokálně D - je zásadně omezená elektivní operativa (o více než 50%) D - chybí personál, při jeho navýšení je možné provozovat další lůžka Elektivní provoz nadále do začátku ledna zastaven, onkologická aj. neodkladná operativa bez omezení. Situace se pozvolna zlepšuje, standardní lůžka s dostatečnou kapacitou, více riziková stran kapacit je intenzivní péče, kde zůstává dlouhodobě mnoho „postCOVID“ pacientů s omezením akutní kapacity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 - zásadně zhoršená, zvládnutelná lokálně D - je zásadně omezená elektivní operativa (o více než 50%) D - chybí personál, při jeho navýšení je možné provozovat další lůžka Elektivní provoz nadále do začátku ledna zastaven, onkologická aj. neodkladná operativa bez omezení. Situace se pozvolna zlepšuje, standardní lůžka s dostatečnou kapacitou, více riziková stran kapacit je intenzivní péče, kde zůstává dlouhodobě mnoho „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ost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“ pacientů s omezením akutní kapacity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 - zásadně zhoršená, zvládnutelná lokálně D - je zásadně omezená elektivní operativa (o více než 50%) D - chybí personál, při jeho navýšení je možné provozovat další lůžka Elektivní provoz nadále do začátku ledna zastaven, onkologická aj. neodkladná operativa bez omezení. Situace se pozvolna zlepšuje, standardní lůžka s dostatečnou kapacitou, více riziková stran kapacit je intenzivní péče, kde zůstává dlouhodobě mnoho „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ost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“ pacientů s omezením akutní kapacity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 - zásadně zhoršená, zvládnutelná lokálně D - je zásadně omezená elektivní operativa (o více než 50%) D - chybí personál, při jeho navýšení je možné provozovat další lůžka Elektivní provoz nadále do začátku ledna zastaven, onkologická aj. neodkladná operativa bez omezení. Situace se pozvolna zlepšuje, standardní lůžka s dostatečnou kapacitou, více riziková stran kapacit je intenzivní péče, kde zůstává dlouhodobě mnoho „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ost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“ pacientů s omezením akutní kapacity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pokles zátěže, kapacity t.č. neredukován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1327013"/>
              </p:ext>
            </p:extLst>
          </p:nvPr>
        </p:nvGraphicFramePr>
        <p:xfrm>
          <a:off x="279292" y="841021"/>
          <a:ext cx="11587543" cy="9566539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onCov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y D - je zásadně omezená elektivní operativa (o více než 50%) D - chybí personál, při jeho navýšení je možné provozovat další lůžka Omezení kapacity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on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pacienty v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t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, ale i ve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nd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vzhledem k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eprofilizac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lůžkové kapacity. Omezená možnost překladů již neinfekčních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ů. Pokles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ů ve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nd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ale setrvale zatížená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t.péče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onCov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y D - je zásadně omezená elektivní operativa (o více než 50%) D - chybí personál, při jeho navýšení je možné provozovat další lůžka Omezení kapacity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on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pacienty v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t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, ale i ve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nd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vzhledem k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eprofilizac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lůžkové kapacity. Omezená možnost překladů již neinfekčních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ů. Pokles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ů ve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nd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ale setrvale zatížená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t.péče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onCov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y D - je zásadně omezená elektivní operativa (o více než 50%) D - chybí personál, při jeho navýšení je možné provozovat další lůžka Omezení kapacity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on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pacienty v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t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, ale i ve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nd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vzhledem k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eprofilizac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lůžkové kapacity. Omezená možnost překladů již neinfekčních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ů. Pokles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ů ve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nd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ale setrvale zatížená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t.péče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onCov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y D - je zásadně omezená elektivní operativa (o více než 50%) D - chybí personál, při jeho navýšení je možné provozovat další lůžka Omezení kapacity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on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pacienty v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t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, ale i ve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nd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vzhledem k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eprofilizac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lůžkové kapacity. Omezená možnost překladů již neinfekčních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ů. Pokles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ů ve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and.péči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ale setrvale zatížená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t.péče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pro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vid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+ pacienty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 - mírně krizová, je v silách KKIP vyřešit D - je zásadně omezená elektivní operativa (o více než 50%) D - chybí personál, při jeho navýšení je možné provozovat další lůžka Situace relativně stabilní, snižuje se počet pac. na standardních odd., v IP postupně taktéž v porovnání s předchozím týdnem.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lektiva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omezená nyní víc než 50%, akutní/neodkladný provoz zajištěn, personální stabilizace i snížená operativa částečně daná vánočními svátky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 - mírně krizová, je v silách KKIP vyřešit D - je zásadně omezená elektivní operativa (o více než 50%) D - chybí personál, při jeho navýšení je možné provozovat další lůžka Situace relativně stabilní, snižuje se počet pac. na standardních odd., v IP postupně taktéž v porovnání s předchozím týdnem.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lektiva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omezená nyní víc než 50%, akutní/neodkladný provoz zajištěn, personální stabilizace i snížená operativa částečně daná vánočními svátky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 - mírně krizová, je v silách KKIP vyřešit D - je zásadně omezená elektivní operativa (o více než 50%) D - chybí personál, při jeho navýšení je možné provozovat další lůžka Situace relativně stabilní, snižuje se počet pac. na standardních odd., v IP postupně taktéž v porovnání s předchozím týdnem.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lektiva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omezená nyní víc než 50%, akutní/neodkladný provoz zajištěn, personální stabilizace i snížená operativa částečně daná vánočními svátky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 - mírně krizová, je v silách KKIP vyřešit D - je zásadně omezená elektivní operativa (o více než 50%) D - chybí personál, při jeho navýšení je možné provozovat další lůžka Situace relativně stabilní, snižuje se počet pac. na standardních odd., v IP postupně taktéž v porovnání s předchozím týdnem. </a:t>
                      </a:r>
                      <a:r>
                        <a:rPr lang="cs-CZ" sz="1300" b="0" i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lektiva</a:t>
                      </a:r>
                      <a:r>
                        <a:rPr lang="cs-CZ" sz="1300" b="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omezená nyní víc než 50%, akutní/neodkladný provoz zajištěn, personální stabilizace i snížená operativa částečně daná vánočními svátky.</a:t>
                      </a: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22191"/>
              </p:ext>
            </p:extLst>
          </p:nvPr>
        </p:nvGraphicFramePr>
        <p:xfrm>
          <a:off x="323851" y="638008"/>
          <a:ext cx="11519385" cy="6106704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 - vyčerpány lidské i materiální zdroj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nes plná nemocnice Nové Město n/M. hrozí překlady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zatím v rámci krajských nemocnic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494973"/>
              </p:ext>
            </p:extLst>
          </p:nvPr>
        </p:nvGraphicFramePr>
        <p:xfrm>
          <a:off x="372867" y="838718"/>
          <a:ext cx="11435203" cy="521244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počtu C19 hospitalizovaných na standardních odděleních i v intenziv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éči se daří zajistit za cenu omezení elektivní péče i výpomoci AČR/HZS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.</a:t>
                      </a:r>
                    </a:p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31</a:t>
            </a:r>
            <a:r>
              <a:rPr lang="cs-CZ" b="1" dirty="0" smtClean="0"/>
              <a:t>.12.2021 </a:t>
            </a:r>
            <a:r>
              <a:rPr lang="cs-CZ" b="1" dirty="0"/>
              <a:t>00:25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627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1114821"/>
              </p:ext>
            </p:extLst>
          </p:nvPr>
        </p:nvGraphicFramePr>
        <p:xfrm>
          <a:off x="332817" y="988295"/>
          <a:ext cx="8438953" cy="5366324"/>
        </p:xfrm>
        <a:graphic>
          <a:graphicData uri="http://schemas.openxmlformats.org/drawingml/2006/table">
            <a:tbl>
              <a:tblPr/>
              <a:tblGrid>
                <a:gridCol w="2248204">
                  <a:extLst>
                    <a:ext uri="{9D8B030D-6E8A-4147-A177-3AD203B41FA5}">
                      <a16:colId xmlns:a16="http://schemas.microsoft.com/office/drawing/2014/main" val="2740071057"/>
                    </a:ext>
                  </a:extLst>
                </a:gridCol>
                <a:gridCol w="1280435">
                  <a:extLst>
                    <a:ext uri="{9D8B030D-6E8A-4147-A177-3AD203B41FA5}">
                      <a16:colId xmlns:a16="http://schemas.microsoft.com/office/drawing/2014/main" val="1406114400"/>
                    </a:ext>
                  </a:extLst>
                </a:gridCol>
                <a:gridCol w="1265545">
                  <a:extLst>
                    <a:ext uri="{9D8B030D-6E8A-4147-A177-3AD203B41FA5}">
                      <a16:colId xmlns:a16="http://schemas.microsoft.com/office/drawing/2014/main" val="3114608373"/>
                    </a:ext>
                  </a:extLst>
                </a:gridCol>
                <a:gridCol w="1265545">
                  <a:extLst>
                    <a:ext uri="{9D8B030D-6E8A-4147-A177-3AD203B41FA5}">
                      <a16:colId xmlns:a16="http://schemas.microsoft.com/office/drawing/2014/main" val="134779342"/>
                    </a:ext>
                  </a:extLst>
                </a:gridCol>
                <a:gridCol w="1325101">
                  <a:extLst>
                    <a:ext uri="{9D8B030D-6E8A-4147-A177-3AD203B41FA5}">
                      <a16:colId xmlns:a16="http://schemas.microsoft.com/office/drawing/2014/main" val="3927779991"/>
                    </a:ext>
                  </a:extLst>
                </a:gridCol>
                <a:gridCol w="1054123">
                  <a:extLst>
                    <a:ext uri="{9D8B030D-6E8A-4147-A177-3AD203B41FA5}">
                      <a16:colId xmlns:a16="http://schemas.microsoft.com/office/drawing/2014/main" val="1831403438"/>
                    </a:ext>
                  </a:extLst>
                </a:gridCol>
              </a:tblGrid>
              <a:tr h="22692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5800419"/>
                  </a:ext>
                </a:extLst>
              </a:tr>
              <a:tr h="22692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31.12. 2021, 11:00 h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7887720"/>
                  </a:ext>
                </a:extLst>
              </a:tr>
              <a:tr h="193823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9292239"/>
                  </a:ext>
                </a:extLst>
              </a:tr>
              <a:tr h="20099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0991111"/>
                  </a:ext>
                </a:extLst>
              </a:tr>
              <a:tr h="78451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9670356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1524275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2378133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942504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2546222"/>
                  </a:ext>
                </a:extLst>
              </a:tr>
              <a:tr h="2026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15886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929313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2376506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765837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6280527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8657474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4115442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709281"/>
                  </a:ext>
                </a:extLst>
              </a:tr>
              <a:tr h="1945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2802866"/>
                  </a:ext>
                </a:extLst>
              </a:tr>
              <a:tr h="2188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889517"/>
                  </a:ext>
                </a:extLst>
              </a:tr>
              <a:tr h="2009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7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013288"/>
                  </a:ext>
                </a:extLst>
              </a:tr>
              <a:tr h="194506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4815033"/>
                  </a:ext>
                </a:extLst>
              </a:tr>
              <a:tr h="193823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2721311"/>
                  </a:ext>
                </a:extLst>
              </a:tr>
              <a:tr h="19382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150086"/>
                  </a:ext>
                </a:extLst>
              </a:tr>
              <a:tr h="19450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6244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175038"/>
              </p:ext>
            </p:extLst>
          </p:nvPr>
        </p:nvGraphicFramePr>
        <p:xfrm>
          <a:off x="332820" y="896480"/>
          <a:ext cx="10547616" cy="5421192"/>
        </p:xfrm>
        <a:graphic>
          <a:graphicData uri="http://schemas.openxmlformats.org/drawingml/2006/table">
            <a:tbl>
              <a:tblPr/>
              <a:tblGrid>
                <a:gridCol w="2322382">
                  <a:extLst>
                    <a:ext uri="{9D8B030D-6E8A-4147-A177-3AD203B41FA5}">
                      <a16:colId xmlns:a16="http://schemas.microsoft.com/office/drawing/2014/main" val="2953775210"/>
                    </a:ext>
                  </a:extLst>
                </a:gridCol>
                <a:gridCol w="1322681">
                  <a:extLst>
                    <a:ext uri="{9D8B030D-6E8A-4147-A177-3AD203B41FA5}">
                      <a16:colId xmlns:a16="http://schemas.microsoft.com/office/drawing/2014/main" val="3419524969"/>
                    </a:ext>
                  </a:extLst>
                </a:gridCol>
                <a:gridCol w="1307301">
                  <a:extLst>
                    <a:ext uri="{9D8B030D-6E8A-4147-A177-3AD203B41FA5}">
                      <a16:colId xmlns:a16="http://schemas.microsoft.com/office/drawing/2014/main" val="1879204792"/>
                    </a:ext>
                  </a:extLst>
                </a:gridCol>
                <a:gridCol w="1276541">
                  <a:extLst>
                    <a:ext uri="{9D8B030D-6E8A-4147-A177-3AD203B41FA5}">
                      <a16:colId xmlns:a16="http://schemas.microsoft.com/office/drawing/2014/main" val="2963335896"/>
                    </a:ext>
                  </a:extLst>
                </a:gridCol>
                <a:gridCol w="1368823">
                  <a:extLst>
                    <a:ext uri="{9D8B030D-6E8A-4147-A177-3AD203B41FA5}">
                      <a16:colId xmlns:a16="http://schemas.microsoft.com/office/drawing/2014/main" val="3330361191"/>
                    </a:ext>
                  </a:extLst>
                </a:gridCol>
                <a:gridCol w="1088906">
                  <a:extLst>
                    <a:ext uri="{9D8B030D-6E8A-4147-A177-3AD203B41FA5}">
                      <a16:colId xmlns:a16="http://schemas.microsoft.com/office/drawing/2014/main" val="1026360033"/>
                    </a:ext>
                  </a:extLst>
                </a:gridCol>
                <a:gridCol w="1860982">
                  <a:extLst>
                    <a:ext uri="{9D8B030D-6E8A-4147-A177-3AD203B41FA5}">
                      <a16:colId xmlns:a16="http://schemas.microsoft.com/office/drawing/2014/main" val="705407020"/>
                    </a:ext>
                  </a:extLst>
                </a:gridCol>
              </a:tblGrid>
              <a:tr h="23428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2324105"/>
                  </a:ext>
                </a:extLst>
              </a:tr>
              <a:tr h="238869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31.12. 2021, 11:00 h</a:t>
                      </a: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5429988"/>
                  </a:ext>
                </a:extLst>
              </a:tr>
              <a:tr h="197920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1777382"/>
                  </a:ext>
                </a:extLst>
              </a:tr>
              <a:tr h="2115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5943944"/>
                  </a:ext>
                </a:extLst>
              </a:tr>
              <a:tr h="82580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460783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203795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042884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3732930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4881598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4623380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3148041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4105450"/>
                  </a:ext>
                </a:extLst>
              </a:tr>
              <a:tr h="2132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7463358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0005699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0623202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0162728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2625438"/>
                  </a:ext>
                </a:extLst>
              </a:tr>
              <a:tr h="2047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5674882"/>
                  </a:ext>
                </a:extLst>
              </a:tr>
              <a:tr h="2115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7145353"/>
                  </a:ext>
                </a:extLst>
              </a:tr>
              <a:tr h="2303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87" marR="5487" marT="54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875701"/>
                  </a:ext>
                </a:extLst>
              </a:tr>
              <a:tr h="2047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3620275"/>
                  </a:ext>
                </a:extLst>
              </a:tr>
              <a:tr h="197920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5974615"/>
                  </a:ext>
                </a:extLst>
              </a:tr>
              <a:tr h="19792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487" marR="5487" marT="54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9786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31</a:t>
            </a:r>
            <a:r>
              <a:rPr lang="cs-CZ" b="1" dirty="0" smtClean="0"/>
              <a:t>.12.2021 </a:t>
            </a:r>
            <a:r>
              <a:rPr lang="cs-CZ" b="1" dirty="0" smtClean="0"/>
              <a:t>00:25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2</a:t>
            </a:r>
            <a:r>
              <a:rPr lang="cs-CZ" sz="2000" b="1" dirty="0" smtClean="0"/>
              <a:t> </a:t>
            </a:r>
            <a:r>
              <a:rPr lang="cs-CZ" sz="2000" b="1" dirty="0" smtClean="0"/>
              <a:t>536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376612"/>
              </p:ext>
            </p:extLst>
          </p:nvPr>
        </p:nvGraphicFramePr>
        <p:xfrm>
          <a:off x="332817" y="896500"/>
          <a:ext cx="8867830" cy="5448881"/>
        </p:xfrm>
        <a:graphic>
          <a:graphicData uri="http://schemas.openxmlformats.org/drawingml/2006/table">
            <a:tbl>
              <a:tblPr/>
              <a:tblGrid>
                <a:gridCol w="1876460">
                  <a:extLst>
                    <a:ext uri="{9D8B030D-6E8A-4147-A177-3AD203B41FA5}">
                      <a16:colId xmlns:a16="http://schemas.microsoft.com/office/drawing/2014/main" val="911947389"/>
                    </a:ext>
                  </a:extLst>
                </a:gridCol>
                <a:gridCol w="1068712">
                  <a:extLst>
                    <a:ext uri="{9D8B030D-6E8A-4147-A177-3AD203B41FA5}">
                      <a16:colId xmlns:a16="http://schemas.microsoft.com/office/drawing/2014/main" val="3075825038"/>
                    </a:ext>
                  </a:extLst>
                </a:gridCol>
                <a:gridCol w="1056286">
                  <a:extLst>
                    <a:ext uri="{9D8B030D-6E8A-4147-A177-3AD203B41FA5}">
                      <a16:colId xmlns:a16="http://schemas.microsoft.com/office/drawing/2014/main" val="4006994489"/>
                    </a:ext>
                  </a:extLst>
                </a:gridCol>
                <a:gridCol w="1056286">
                  <a:extLst>
                    <a:ext uri="{9D8B030D-6E8A-4147-A177-3AD203B41FA5}">
                      <a16:colId xmlns:a16="http://schemas.microsoft.com/office/drawing/2014/main" val="137332737"/>
                    </a:ext>
                  </a:extLst>
                </a:gridCol>
                <a:gridCol w="1105994">
                  <a:extLst>
                    <a:ext uri="{9D8B030D-6E8A-4147-A177-3AD203B41FA5}">
                      <a16:colId xmlns:a16="http://schemas.microsoft.com/office/drawing/2014/main" val="2152676341"/>
                    </a:ext>
                  </a:extLst>
                </a:gridCol>
                <a:gridCol w="1503654">
                  <a:extLst>
                    <a:ext uri="{9D8B030D-6E8A-4147-A177-3AD203B41FA5}">
                      <a16:colId xmlns:a16="http://schemas.microsoft.com/office/drawing/2014/main" val="1123147099"/>
                    </a:ext>
                  </a:extLst>
                </a:gridCol>
                <a:gridCol w="1200438">
                  <a:extLst>
                    <a:ext uri="{9D8B030D-6E8A-4147-A177-3AD203B41FA5}">
                      <a16:colId xmlns:a16="http://schemas.microsoft.com/office/drawing/2014/main" val="3901184253"/>
                    </a:ext>
                  </a:extLst>
                </a:gridCol>
              </a:tblGrid>
              <a:tr h="22992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1435745"/>
                  </a:ext>
                </a:extLst>
              </a:tr>
              <a:tr h="229929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31.12. 2021, 11:00 h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698127"/>
                  </a:ext>
                </a:extLst>
              </a:tr>
              <a:tr h="19656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4958678"/>
                  </a:ext>
                </a:extLst>
              </a:tr>
              <a:tr h="2299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4998145"/>
                  </a:ext>
                </a:extLst>
              </a:tr>
              <a:tr h="59781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6405731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549623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7745871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6028967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6177380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583242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996933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894275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367607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0155274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6149888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684193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320792"/>
                  </a:ext>
                </a:extLst>
              </a:tr>
              <a:tr h="197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6835523"/>
                  </a:ext>
                </a:extLst>
              </a:tr>
              <a:tr h="20365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2784487"/>
                  </a:ext>
                </a:extLst>
              </a:tr>
              <a:tr h="2217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48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7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0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43846"/>
                  </a:ext>
                </a:extLst>
              </a:tr>
              <a:tr h="197082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6465722"/>
                  </a:ext>
                </a:extLst>
              </a:tr>
              <a:tr h="19656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4621989"/>
                  </a:ext>
                </a:extLst>
              </a:tr>
              <a:tr h="38655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3597340"/>
                  </a:ext>
                </a:extLst>
              </a:tr>
              <a:tr h="19708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41927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3013398" y="5918292"/>
            <a:ext cx="49664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12.2021 11:05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0872180"/>
              </p:ext>
            </p:extLst>
          </p:nvPr>
        </p:nvGraphicFramePr>
        <p:xfrm>
          <a:off x="1016311" y="1642759"/>
          <a:ext cx="8921482" cy="3520371"/>
        </p:xfrm>
        <a:graphic>
          <a:graphicData uri="http://schemas.openxmlformats.org/drawingml/2006/table">
            <a:tbl>
              <a:tblPr/>
              <a:tblGrid>
                <a:gridCol w="5566925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926258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2428299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5069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12094" marR="12094" marT="120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12094" marR="12094" marT="12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12094" marR="12094" marT="120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602681">
                <a:tc>
                  <a:txBody>
                    <a:bodyPr/>
                    <a:lstStyle/>
                    <a:p>
                      <a:pPr algn="l" fontAlgn="b"/>
                      <a:r>
                        <a:rPr lang="cs-CZ" sz="2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Písek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377" marR="16377" marT="16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Č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377" marR="16377" marT="131018" marB="13101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 10:54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7395" marR="16377" marT="163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602681">
                <a:tc>
                  <a:txBody>
                    <a:bodyPr/>
                    <a:lstStyle/>
                    <a:p>
                      <a:pPr algn="l" fontAlgn="b"/>
                      <a:r>
                        <a:rPr lang="cs-CZ" sz="2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hab</a:t>
                      </a:r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r>
                        <a:rPr lang="cs-CZ" sz="2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Beroun</a:t>
                      </a:r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377" marR="16377" marT="16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Č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377" marR="16377" marT="131018" marB="13101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 </a:t>
                      </a:r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:10</a:t>
                      </a:r>
                    </a:p>
                  </a:txBody>
                  <a:tcPr marL="147395" marR="16377" marT="163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602681">
                <a:tc>
                  <a:txBody>
                    <a:bodyPr/>
                    <a:lstStyle/>
                    <a:p>
                      <a:pPr algn="l" fontAlgn="b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N</a:t>
                      </a:r>
                      <a:r>
                        <a:rPr lang="cs-CZ" sz="2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lomouc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377" marR="16377" marT="16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377" marR="16377" marT="131018" marB="13101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2021 </a:t>
                      </a:r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54</a:t>
                      </a:r>
                    </a:p>
                  </a:txBody>
                  <a:tcPr marL="147395" marR="16377" marT="163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602681">
                <a:tc>
                  <a:txBody>
                    <a:bodyPr/>
                    <a:lstStyle/>
                    <a:p>
                      <a:pPr algn="l" fontAlgn="b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</a:t>
                      </a:r>
                      <a:r>
                        <a:rPr lang="cs-CZ" sz="2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Kladno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377" marR="16377" marT="16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Č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377" marR="16377" marT="131018" marB="13101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 20:56</a:t>
                      </a:r>
                    </a:p>
                  </a:txBody>
                  <a:tcPr marL="147395" marR="16377" marT="163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602681">
                <a:tc>
                  <a:txBody>
                    <a:bodyPr/>
                    <a:lstStyle/>
                    <a:p>
                      <a:pPr algn="l" fontAlgn="b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</a:t>
                      </a:r>
                      <a:r>
                        <a:rPr lang="cs-CZ" sz="2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ěčín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377" marR="16377" marT="16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  <a:endParaRPr lang="cs-CZ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6377" marR="16377" marT="131018" marB="13101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2021 14:57</a:t>
                      </a:r>
                    </a:p>
                  </a:txBody>
                  <a:tcPr marL="147395" marR="16377" marT="163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1224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0508053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,0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87313" y="3263615"/>
            <a:ext cx="109537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Za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31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.12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. bylo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162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nově přijatých C+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pacientů.</a:t>
            </a:r>
          </a:p>
          <a:p>
            <a:pPr marL="342900" lvl="0" indent="-342900">
              <a:buFont typeface="+mj-lt"/>
              <a:buAutoNum type="arabicParenR"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, ale dochází k mírnému zlepšení.</a:t>
            </a:r>
          </a:p>
          <a:p>
            <a:pPr marL="342900" lvl="0" indent="-342900">
              <a:buFont typeface="+mj-lt"/>
              <a:buAutoNum type="arabicParenR"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druhý týden stoupá a 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 Lůžka jsou, ale stále obsazena post-COVID pac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520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143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174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5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644</TotalTime>
  <Words>3233</Words>
  <Application>Microsoft Office PowerPoint</Application>
  <PresentationFormat>Širokoúhlá obrazovka</PresentationFormat>
  <Paragraphs>685</Paragraphs>
  <Slides>17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5</vt:i4>
      </vt:variant>
      <vt:variant>
        <vt:lpstr>Nadpisy snímků</vt:lpstr>
      </vt:variant>
      <vt:variant>
        <vt:i4>17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2_Motiv Office</vt:lpstr>
      <vt:lpstr>3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- Souhrn - aktualizace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787</cp:revision>
  <cp:lastPrinted>2020-10-20T04:21:56Z</cp:lastPrinted>
  <dcterms:created xsi:type="dcterms:W3CDTF">2020-07-15T10:33:32Z</dcterms:created>
  <dcterms:modified xsi:type="dcterms:W3CDTF">2021-12-31T10:25:42Z</dcterms:modified>
</cp:coreProperties>
</file>